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presentation.xml" ContentType="application/vnd.openxmlformats-officedocument.presentationml.presentation.main+xml"/>
  <Override PartName="/ppt/notesSlides/notesSlide2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7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8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notesSlides/notesSlide9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10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6.xml" ContentType="application/vnd.openxmlformats-officedocument.presentationml.notesSlide+xml"/>
  <Override PartName="/ppt/theme/theme2.xml" ContentType="application/vnd.openxmlformats-officedocument.theme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1" r:id="rId1"/>
  </p:sldMasterIdLst>
  <p:notesMasterIdLst>
    <p:notesMasterId r:id="rId28"/>
  </p:notesMasterIdLst>
  <p:sldIdLst>
    <p:sldId id="256" r:id="rId2"/>
    <p:sldId id="258" r:id="rId3"/>
    <p:sldId id="283" r:id="rId4"/>
    <p:sldId id="259" r:id="rId5"/>
    <p:sldId id="260" r:id="rId6"/>
    <p:sldId id="261" r:id="rId7"/>
    <p:sldId id="274" r:id="rId8"/>
    <p:sldId id="284" r:id="rId9"/>
    <p:sldId id="287" r:id="rId10"/>
    <p:sldId id="276" r:id="rId11"/>
    <p:sldId id="281" r:id="rId12"/>
    <p:sldId id="278" r:id="rId13"/>
    <p:sldId id="275" r:id="rId14"/>
    <p:sldId id="263" r:id="rId15"/>
    <p:sldId id="288" r:id="rId16"/>
    <p:sldId id="279" r:id="rId17"/>
    <p:sldId id="280" r:id="rId18"/>
    <p:sldId id="270" r:id="rId19"/>
    <p:sldId id="272" r:id="rId20"/>
    <p:sldId id="264" r:id="rId21"/>
    <p:sldId id="277" r:id="rId22"/>
    <p:sldId id="286" r:id="rId23"/>
    <p:sldId id="290" r:id="rId24"/>
    <p:sldId id="285" r:id="rId25"/>
    <p:sldId id="289" r:id="rId26"/>
    <p:sldId id="282" r:id="rId27"/>
  </p:sldIdLst>
  <p:sldSz cx="9144000" cy="5143500" type="screen16x9"/>
  <p:notesSz cx="6858000" cy="9144000"/>
  <p:custDataLst>
    <p:tags r:id="rId2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E8F00"/>
    <a:srgbClr val="FFFD78"/>
    <a:srgbClr val="D5FC79"/>
    <a:srgbClr val="FF7E79"/>
    <a:srgbClr val="CAECEA"/>
    <a:srgbClr val="0B4068"/>
    <a:srgbClr val="B08034"/>
    <a:srgbClr val="D5DBE5"/>
    <a:srgbClr val="1D395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386"/>
    <p:restoredTop sz="94513"/>
  </p:normalViewPr>
  <p:slideViewPr>
    <p:cSldViewPr snapToGrid="0">
      <p:cViewPr>
        <p:scale>
          <a:sx n="105" d="100"/>
          <a:sy n="105" d="100"/>
        </p:scale>
        <p:origin x="328" y="96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customXml" Target="../customXml/item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openxmlformats.org/officeDocument/2006/relationships/customXml" Target="../customXml/item3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35" Type="http://schemas.openxmlformats.org/officeDocument/2006/relationships/customXml" Target="../customXml/item2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e90417ae3a_2_45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97" name="Google Shape;97;ge90417ae3a_2_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352964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638500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224591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3382516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121359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870053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26756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6862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5279903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14157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17891671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0077158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5826835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627210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3189222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2297544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61470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355848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44312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9798069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097087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20525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653759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ge90417ae3a_7_15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" name="Google Shape;119;ge90417ae3a_7_15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135973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1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7" name="Google Shape;57;p1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2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16"/>
          <p:cNvSpPr txBox="1">
            <a:spLocks noGrp="1"/>
          </p:cNvSpPr>
          <p:nvPr>
            <p:ph type="ctrTitle"/>
          </p:nvPr>
        </p:nvSpPr>
        <p:spPr>
          <a:xfrm>
            <a:off x="311708" y="744575"/>
            <a:ext cx="8520600" cy="20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5200"/>
            </a:lvl9pPr>
          </a:lstStyle>
          <a:p>
            <a:endParaRPr/>
          </a:p>
        </p:txBody>
      </p:sp>
      <p:sp>
        <p:nvSpPr>
          <p:cNvPr id="63" name="Google Shape;63;p16"/>
          <p:cNvSpPr txBox="1">
            <a:spLocks noGrp="1"/>
          </p:cNvSpPr>
          <p:nvPr>
            <p:ph type="subTitle" idx="1"/>
          </p:nvPr>
        </p:nvSpPr>
        <p:spPr>
          <a:xfrm>
            <a:off x="311700" y="2834125"/>
            <a:ext cx="8520600" cy="79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2800"/>
            </a:lvl9pPr>
          </a:lstStyle>
          <a:p>
            <a:endParaRPr/>
          </a:p>
        </p:txBody>
      </p:sp>
      <p:sp>
        <p:nvSpPr>
          <p:cNvPr id="64" name="Google Shape;64;p1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7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67" name="Google Shape;67;p1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18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8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71" name="Google Shape;71;p18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72" name="Google Shape;72;p1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19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75" name="Google Shape;75;p19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76" name="Google Shape;76;p1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20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79" name="Google Shape;79;p2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21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" name="Google Shape;82;p21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83" name="Google Shape;83;p21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84" name="Google Shape;84;p21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85" name="Google Shape;85;p2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22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88" name="Google Shape;88;p2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3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91" name="Google Shape;91;p23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92" name="Google Shape;92;p2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9428916-1701-324F-941E-4A60D1058D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63561521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9428916-1701-324F-941E-4A60D1058D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Google Shape;51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2" name="Google Shape;52;p13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Google Shape;53;p1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9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8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0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1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11" Type="http://schemas.openxmlformats.org/officeDocument/2006/relationships/image" Target="../media/image27.png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26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0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9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4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5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jpe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985C32-DC54-0D46-9619-23FE4F603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80076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985C32-DC54-0D46-9619-23FE4F603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Google Shape;101;p25"/>
          <p:cNvSpPr txBox="1"/>
          <p:nvPr/>
        </p:nvSpPr>
        <p:spPr>
          <a:xfrm>
            <a:off x="542003" y="2246122"/>
            <a:ext cx="4615534" cy="1034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Arial"/>
              <a:buNone/>
            </a:pPr>
            <a:r>
              <a:rPr lang="uk-UA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Аналіз компанії</a:t>
            </a:r>
          </a:p>
        </p:txBody>
      </p:sp>
      <p:pic>
        <p:nvPicPr>
          <p:cNvPr id="12297" name="Picture 9">
            <a:extLst>
              <a:ext uri="{FF2B5EF4-FFF2-40B4-BE49-F238E27FC236}">
                <a16:creationId xmlns:a16="http://schemas.microsoft.com/office/drawing/2014/main" id="{EDECAED5-BBFE-904E-B500-DB8EE8D602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003" y="984156"/>
            <a:ext cx="2332654" cy="788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C027A290-77F2-0B42-8E4F-985066A4FDC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21709" y="0"/>
            <a:ext cx="3422291" cy="5143500"/>
          </a:xfrm>
          <a:prstGeom prst="rect">
            <a:avLst/>
          </a:prstGeom>
        </p:spPr>
      </p:pic>
      <p:sp>
        <p:nvSpPr>
          <p:cNvPr id="6" name="Google Shape;101;p25">
            <a:extLst>
              <a:ext uri="{FF2B5EF4-FFF2-40B4-BE49-F238E27FC236}">
                <a16:creationId xmlns:a16="http://schemas.microsoft.com/office/drawing/2014/main" id="{D0B21D66-0DC8-8D43-9D0A-7F1828132E44}"/>
              </a:ext>
            </a:extLst>
          </p:cNvPr>
          <p:cNvSpPr txBox="1"/>
          <p:nvPr/>
        </p:nvSpPr>
        <p:spPr>
          <a:xfrm>
            <a:off x="542003" y="3541522"/>
            <a:ext cx="4615534" cy="1034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Arial"/>
              <a:buNone/>
            </a:pPr>
            <a:r>
              <a:rPr lang="uk-UA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роцюк Захар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Фінанси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825672-0888-EC43-93E7-2017C0419ED2}"/>
              </a:ext>
            </a:extLst>
          </p:cNvPr>
          <p:cNvSpPr txBox="1"/>
          <p:nvPr/>
        </p:nvSpPr>
        <p:spPr>
          <a:xfrm>
            <a:off x="311699" y="1011984"/>
            <a:ext cx="51398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uk-UA" dirty="0"/>
              <a:t>Квартальний прибуток </a:t>
            </a:r>
            <a:r>
              <a:rPr lang="en-US" dirty="0"/>
              <a:t>Google </a:t>
            </a:r>
            <a:r>
              <a:rPr lang="uk-UA" dirty="0"/>
              <a:t>з 2002 по 2020 рік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091821F-29DB-0B4A-8E32-3A60B09817F5}"/>
              </a:ext>
            </a:extLst>
          </p:cNvPr>
          <p:cNvCxnSpPr>
            <a:cxnSpLocks/>
          </p:cNvCxnSpPr>
          <p:nvPr/>
        </p:nvCxnSpPr>
        <p:spPr>
          <a:xfrm>
            <a:off x="311700" y="1319761"/>
            <a:ext cx="839916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868644BC-7929-AE40-843B-90589D30D44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76619" y="1607421"/>
            <a:ext cx="5578462" cy="3205123"/>
          </a:xfrm>
          <a:prstGeom prst="rect">
            <a:avLst/>
          </a:prstGeom>
          <a:effectLst>
            <a:outerShdw blurRad="203200" dist="38100" dir="13500000" algn="b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8943903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95073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Фінанси: що генерує бізнес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825672-0888-EC43-93E7-2017C0419ED2}"/>
              </a:ext>
            </a:extLst>
          </p:cNvPr>
          <p:cNvSpPr txBox="1"/>
          <p:nvPr/>
        </p:nvSpPr>
        <p:spPr>
          <a:xfrm>
            <a:off x="311699" y="1011984"/>
            <a:ext cx="51398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dirty="0"/>
              <a:t> </a:t>
            </a:r>
            <a:r>
              <a:rPr lang="uk-UA" dirty="0"/>
              <a:t>Розподіл доходів </a:t>
            </a:r>
            <a:r>
              <a:rPr lang="en-US" dirty="0"/>
              <a:t>Google </a:t>
            </a:r>
            <a:r>
              <a:rPr lang="uk-UA" dirty="0"/>
              <a:t>за сегментами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091821F-29DB-0B4A-8E32-3A60B09817F5}"/>
              </a:ext>
            </a:extLst>
          </p:cNvPr>
          <p:cNvCxnSpPr>
            <a:cxnSpLocks/>
          </p:cNvCxnSpPr>
          <p:nvPr/>
        </p:nvCxnSpPr>
        <p:spPr>
          <a:xfrm>
            <a:off x="311700" y="1319761"/>
            <a:ext cx="839916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8DF19406-AE42-C042-BA62-F529F75FEC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57255" y="1631250"/>
            <a:ext cx="5308051" cy="3067225"/>
          </a:xfrm>
          <a:prstGeom prst="rect">
            <a:avLst/>
          </a:prstGeom>
          <a:effectLst>
            <a:outerShdw blurRad="203200" dist="38100" dir="13500000" algn="b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553353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88562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oogle vs Big Five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825672-0888-EC43-93E7-2017C0419ED2}"/>
              </a:ext>
            </a:extLst>
          </p:cNvPr>
          <p:cNvSpPr txBox="1"/>
          <p:nvPr/>
        </p:nvSpPr>
        <p:spPr>
          <a:xfrm>
            <a:off x="311699" y="1011984"/>
            <a:ext cx="51398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uk-UA" dirty="0"/>
              <a:t>Порівняння доходів найбільших технологічних компаній світу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091821F-29DB-0B4A-8E32-3A60B09817F5}"/>
              </a:ext>
            </a:extLst>
          </p:cNvPr>
          <p:cNvCxnSpPr>
            <a:cxnSpLocks/>
          </p:cNvCxnSpPr>
          <p:nvPr/>
        </p:nvCxnSpPr>
        <p:spPr>
          <a:xfrm>
            <a:off x="311700" y="1319761"/>
            <a:ext cx="839916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EAB50DB3-6081-834F-AD6F-A89237879A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57190" y="1607421"/>
            <a:ext cx="5308181" cy="3277484"/>
          </a:xfrm>
          <a:prstGeom prst="rect">
            <a:avLst/>
          </a:prstGeom>
          <a:effectLst>
            <a:outerShdw blurRad="203200" dist="38100" dir="13500000" algn="b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091369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122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&amp;A </a:t>
            </a:r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угоди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825672-0888-EC43-93E7-2017C0419ED2}"/>
              </a:ext>
            </a:extLst>
          </p:cNvPr>
          <p:cNvSpPr txBox="1"/>
          <p:nvPr/>
        </p:nvSpPr>
        <p:spPr>
          <a:xfrm>
            <a:off x="311699" y="1011984"/>
            <a:ext cx="51398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uk-UA" dirty="0"/>
              <a:t>Обрані поглинання </a:t>
            </a:r>
            <a:r>
              <a:rPr lang="en-US" dirty="0"/>
              <a:t>Google </a:t>
            </a:r>
            <a:r>
              <a:rPr lang="uk-UA" dirty="0"/>
              <a:t>до 2021 року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091821F-29DB-0B4A-8E32-3A60B09817F5}"/>
              </a:ext>
            </a:extLst>
          </p:cNvPr>
          <p:cNvCxnSpPr>
            <a:cxnSpLocks/>
          </p:cNvCxnSpPr>
          <p:nvPr/>
        </p:nvCxnSpPr>
        <p:spPr>
          <a:xfrm>
            <a:off x="311700" y="1319761"/>
            <a:ext cx="839916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A73AE04F-75E6-C840-BCC0-D14EFAC7BC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22404" y="1683621"/>
            <a:ext cx="5099192" cy="3169349"/>
          </a:xfrm>
          <a:prstGeom prst="rect">
            <a:avLst/>
          </a:prstGeom>
          <a:effectLst>
            <a:outerShdw blurRad="203200" dist="38100" dir="13500000" algn="b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073774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34032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bg1"/>
                </a:solidFill>
              </a:rPr>
              <a:t>Напрямок: Пошуковий бізнес</a:t>
            </a:r>
            <a:endParaRPr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4898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33806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Бізнес-модель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головного напрямку 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oogle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8407497-4C97-C249-B77F-F132106F3053}"/>
              </a:ext>
            </a:extLst>
          </p:cNvPr>
          <p:cNvGrpSpPr/>
          <p:nvPr/>
        </p:nvGrpSpPr>
        <p:grpSpPr>
          <a:xfrm>
            <a:off x="1385739" y="1076861"/>
            <a:ext cx="6674178" cy="3486563"/>
            <a:chOff x="1385739" y="1076861"/>
            <a:chExt cx="6674178" cy="3486563"/>
          </a:xfrm>
        </p:grpSpPr>
        <p:pic>
          <p:nvPicPr>
            <p:cNvPr id="8" name="Picture 8" descr="What Is a Hidden Revenue Business Model? Google&amp;#39;s Business Model Explained  - FourWeekMBA">
              <a:extLst>
                <a:ext uri="{FF2B5EF4-FFF2-40B4-BE49-F238E27FC236}">
                  <a16:creationId xmlns:a16="http://schemas.microsoft.com/office/drawing/2014/main" id="{5E5E9994-9027-2549-A4D8-3795F93C85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5739" y="1076861"/>
              <a:ext cx="6674178" cy="3486563"/>
            </a:xfrm>
            <a:prstGeom prst="rect">
              <a:avLst/>
            </a:prstGeom>
            <a:effectLst>
              <a:outerShdw blurRad="203200" dist="38100" dir="13500000" algn="b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9DC0D43C-6112-414F-82AF-8A6A8A143485}"/>
                </a:ext>
              </a:extLst>
            </p:cNvPr>
            <p:cNvSpPr/>
            <p:nvPr/>
          </p:nvSpPr>
          <p:spPr>
            <a:xfrm>
              <a:off x="6532775" y="4308049"/>
              <a:ext cx="1527142" cy="188537"/>
            </a:xfrm>
            <a:prstGeom prst="rect">
              <a:avLst/>
            </a:prstGeom>
            <a:solidFill>
              <a:srgbClr val="CAEC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8786493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37007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>
                <a:solidFill>
                  <a:schemeClr val="tx1">
                    <a:lumMod val="75000"/>
                    <a:lumOff val="25000"/>
                  </a:schemeClr>
                </a:solidFill>
              </a:rPr>
              <a:t>Стан на ринку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825672-0888-EC43-93E7-2017C0419ED2}"/>
              </a:ext>
            </a:extLst>
          </p:cNvPr>
          <p:cNvSpPr txBox="1"/>
          <p:nvPr/>
        </p:nvSpPr>
        <p:spPr>
          <a:xfrm>
            <a:off x="311699" y="1011984"/>
            <a:ext cx="51398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uk-UA" dirty="0"/>
              <a:t>Світова доля ринку</a:t>
            </a:r>
            <a:r>
              <a:rPr lang="en-US" dirty="0"/>
              <a:t> </a:t>
            </a:r>
            <a:r>
              <a:rPr lang="uk-UA" dirty="0" err="1"/>
              <a:t>пошуковиків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091821F-29DB-0B4A-8E32-3A60B09817F5}"/>
              </a:ext>
            </a:extLst>
          </p:cNvPr>
          <p:cNvCxnSpPr>
            <a:cxnSpLocks/>
          </p:cNvCxnSpPr>
          <p:nvPr/>
        </p:nvCxnSpPr>
        <p:spPr>
          <a:xfrm>
            <a:off x="311700" y="1319761"/>
            <a:ext cx="839916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C351D78B-ACB4-7046-99FE-37BB6A18936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58741" y="1668161"/>
            <a:ext cx="5505080" cy="3168462"/>
          </a:xfrm>
          <a:prstGeom prst="rect">
            <a:avLst/>
          </a:prstGeom>
          <a:effectLst>
            <a:outerShdw blurRad="203200" dist="38100" dir="13500000" algn="b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554237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57235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онкуренти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1747" name="Picture 3" descr="Search market share table">
            <a:extLst>
              <a:ext uri="{FF2B5EF4-FFF2-40B4-BE49-F238E27FC236}">
                <a16:creationId xmlns:a16="http://schemas.microsoft.com/office/drawing/2014/main" id="{BE346D19-82EB-ED4B-814B-85A995B22E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1900" y="752802"/>
            <a:ext cx="2168135" cy="3942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1" name="Picture 7" descr="Google Market Share">
            <a:extLst>
              <a:ext uri="{FF2B5EF4-FFF2-40B4-BE49-F238E27FC236}">
                <a16:creationId xmlns:a16="http://schemas.microsoft.com/office/drawing/2014/main" id="{5113FE6F-F8CA-D443-9CAA-94F0B5DE4F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99" y="1069848"/>
            <a:ext cx="5749205" cy="3233928"/>
          </a:xfrm>
          <a:prstGeom prst="rect">
            <a:avLst/>
          </a:prstGeom>
          <a:effectLst>
            <a:outerShdw blurRad="203200" dist="38100" dir="13500000" algn="b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54395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624904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онкуренти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82D14F3-DE2F-DB40-A24F-FE8617E1E678}"/>
              </a:ext>
            </a:extLst>
          </p:cNvPr>
          <p:cNvGrpSpPr/>
          <p:nvPr/>
        </p:nvGrpSpPr>
        <p:grpSpPr>
          <a:xfrm>
            <a:off x="633853" y="1486570"/>
            <a:ext cx="1851543" cy="2745233"/>
            <a:chOff x="311700" y="1859795"/>
            <a:chExt cx="1851543" cy="2745233"/>
          </a:xfrm>
        </p:grpSpPr>
        <p:pic>
          <p:nvPicPr>
            <p:cNvPr id="11270" name="Picture 6" descr="Google Search Logo">
              <a:extLst>
                <a:ext uri="{FF2B5EF4-FFF2-40B4-BE49-F238E27FC236}">
                  <a16:creationId xmlns:a16="http://schemas.microsoft.com/office/drawing/2014/main" id="{8C093EB5-B55A-D448-AE35-AEF540EB0A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1700" y="1859795"/>
              <a:ext cx="1851543" cy="1042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72" name="Picture 8" descr="Microsoft Bing Search Logo">
              <a:extLst>
                <a:ext uri="{FF2B5EF4-FFF2-40B4-BE49-F238E27FC236}">
                  <a16:creationId xmlns:a16="http://schemas.microsoft.com/office/drawing/2014/main" id="{71EFE1C0-276A-E942-8A38-72D2A032E9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1700" y="3562874"/>
              <a:ext cx="1851543" cy="1042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D52B899-1E7D-F142-A9B6-5BC6FE3C47E8}"/>
              </a:ext>
            </a:extLst>
          </p:cNvPr>
          <p:cNvGrpSpPr/>
          <p:nvPr/>
        </p:nvGrpSpPr>
        <p:grpSpPr>
          <a:xfrm>
            <a:off x="3714860" y="1413545"/>
            <a:ext cx="1937268" cy="2745233"/>
            <a:chOff x="3632200" y="1786770"/>
            <a:chExt cx="1937268" cy="2745233"/>
          </a:xfrm>
        </p:grpSpPr>
        <p:pic>
          <p:nvPicPr>
            <p:cNvPr id="11274" name="Picture 10" descr="Yahoo Search Logo">
              <a:extLst>
                <a:ext uri="{FF2B5EF4-FFF2-40B4-BE49-F238E27FC236}">
                  <a16:creationId xmlns:a16="http://schemas.microsoft.com/office/drawing/2014/main" id="{0D0E9204-CD7A-724F-B284-B605AD2762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32200" y="1786770"/>
              <a:ext cx="1851543" cy="1042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76" name="Picture 12" descr="Yandex Search Logo">
              <a:extLst>
                <a:ext uri="{FF2B5EF4-FFF2-40B4-BE49-F238E27FC236}">
                  <a16:creationId xmlns:a16="http://schemas.microsoft.com/office/drawing/2014/main" id="{487E40E7-8FF0-314D-9E29-5E5313F630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17925" y="3489849"/>
              <a:ext cx="1851543" cy="1042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509B0041-AE15-884F-A3E7-4730E89D6EBF}"/>
              </a:ext>
            </a:extLst>
          </p:cNvPr>
          <p:cNvGrpSpPr/>
          <p:nvPr/>
        </p:nvGrpSpPr>
        <p:grpSpPr>
          <a:xfrm>
            <a:off x="6881592" y="1413544"/>
            <a:ext cx="1876063" cy="2681557"/>
            <a:chOff x="6559439" y="1786769"/>
            <a:chExt cx="1876063" cy="2681557"/>
          </a:xfrm>
        </p:grpSpPr>
        <p:pic>
          <p:nvPicPr>
            <p:cNvPr id="11280" name="Picture 16" descr="DuckDuckGo Search Logo">
              <a:extLst>
                <a:ext uri="{FF2B5EF4-FFF2-40B4-BE49-F238E27FC236}">
                  <a16:creationId xmlns:a16="http://schemas.microsoft.com/office/drawing/2014/main" id="{1093AA7A-B2B3-1A4A-BC22-9394020D077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71699" y="1786769"/>
              <a:ext cx="1851543" cy="10421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82" name="Picture 18" descr="Baidu Search Logo">
              <a:extLst>
                <a:ext uri="{FF2B5EF4-FFF2-40B4-BE49-F238E27FC236}">
                  <a16:creationId xmlns:a16="http://schemas.microsoft.com/office/drawing/2014/main" id="{5C3C4363-467E-9F45-BC56-CD188E086BC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59439" y="3412370"/>
              <a:ext cx="1876063" cy="10559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997344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92780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изики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4" name="Групувати 7">
            <a:extLst>
              <a:ext uri="{FF2B5EF4-FFF2-40B4-BE49-F238E27FC236}">
                <a16:creationId xmlns:a16="http://schemas.microsoft.com/office/drawing/2014/main" id="{8EFE684D-9487-934A-B369-D056B5D7EF1D}"/>
              </a:ext>
            </a:extLst>
          </p:cNvPr>
          <p:cNvGrpSpPr/>
          <p:nvPr/>
        </p:nvGrpSpPr>
        <p:grpSpPr>
          <a:xfrm>
            <a:off x="1373900" y="983552"/>
            <a:ext cx="6270484" cy="3485053"/>
            <a:chOff x="1737360" y="1690688"/>
            <a:chExt cx="8229600" cy="4573904"/>
          </a:xfrm>
          <a:solidFill>
            <a:schemeClr val="bg2"/>
          </a:solidFill>
        </p:grpSpPr>
        <p:sp>
          <p:nvSpPr>
            <p:cNvPr id="5" name="Прямокутник 3">
              <a:extLst>
                <a:ext uri="{FF2B5EF4-FFF2-40B4-BE49-F238E27FC236}">
                  <a16:creationId xmlns:a16="http://schemas.microsoft.com/office/drawing/2014/main" id="{6C29B297-4B35-C54B-90F3-3EF5E2509A4B}"/>
                </a:ext>
              </a:extLst>
            </p:cNvPr>
            <p:cNvSpPr/>
            <p:nvPr/>
          </p:nvSpPr>
          <p:spPr>
            <a:xfrm>
              <a:off x="1737360" y="1690688"/>
              <a:ext cx="4023360" cy="21945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Прямокутник 4">
              <a:extLst>
                <a:ext uri="{FF2B5EF4-FFF2-40B4-BE49-F238E27FC236}">
                  <a16:creationId xmlns:a16="http://schemas.microsoft.com/office/drawing/2014/main" id="{84B90E07-B03A-9B4D-A1D9-F2BF458FFE18}"/>
                </a:ext>
              </a:extLst>
            </p:cNvPr>
            <p:cNvSpPr/>
            <p:nvPr/>
          </p:nvSpPr>
          <p:spPr>
            <a:xfrm>
              <a:off x="5943600" y="1690688"/>
              <a:ext cx="4023360" cy="219456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Прямокутник 5">
              <a:extLst>
                <a:ext uri="{FF2B5EF4-FFF2-40B4-BE49-F238E27FC236}">
                  <a16:creationId xmlns:a16="http://schemas.microsoft.com/office/drawing/2014/main" id="{DCACA9E5-A903-4745-ACDD-AB62C4399248}"/>
                </a:ext>
              </a:extLst>
            </p:cNvPr>
            <p:cNvSpPr/>
            <p:nvPr/>
          </p:nvSpPr>
          <p:spPr>
            <a:xfrm>
              <a:off x="1737360" y="4070032"/>
              <a:ext cx="4023360" cy="219456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Прямокутник 6">
              <a:extLst>
                <a:ext uri="{FF2B5EF4-FFF2-40B4-BE49-F238E27FC236}">
                  <a16:creationId xmlns:a16="http://schemas.microsoft.com/office/drawing/2014/main" id="{9D79B6E0-947C-3242-94C6-781609C95854}"/>
                </a:ext>
              </a:extLst>
            </p:cNvPr>
            <p:cNvSpPr/>
            <p:nvPr/>
          </p:nvSpPr>
          <p:spPr>
            <a:xfrm>
              <a:off x="5943600" y="4070032"/>
              <a:ext cx="4023360" cy="21945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FD1F8E2F-7ACE-6C4D-AF9A-4E436490109D}"/>
              </a:ext>
            </a:extLst>
          </p:cNvPr>
          <p:cNvSpPr txBox="1"/>
          <p:nvPr/>
        </p:nvSpPr>
        <p:spPr>
          <a:xfrm rot="16200000">
            <a:off x="-17387" y="2339461"/>
            <a:ext cx="21733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/>
              <a:t>Масштаб впливу</a:t>
            </a:r>
            <a:endParaRPr lang="en-US" dirty="0"/>
          </a:p>
        </p:txBody>
      </p:sp>
      <p:cxnSp>
        <p:nvCxnSpPr>
          <p:cNvPr id="11" name="Пряма зі стрілкою 11">
            <a:extLst>
              <a:ext uri="{FF2B5EF4-FFF2-40B4-BE49-F238E27FC236}">
                <a16:creationId xmlns:a16="http://schemas.microsoft.com/office/drawing/2014/main" id="{973ACEC4-E83B-3240-BE1E-1C1AF249A149}"/>
              </a:ext>
            </a:extLst>
          </p:cNvPr>
          <p:cNvCxnSpPr>
            <a:cxnSpLocks/>
          </p:cNvCxnSpPr>
          <p:nvPr/>
        </p:nvCxnSpPr>
        <p:spPr>
          <a:xfrm>
            <a:off x="1373900" y="4541814"/>
            <a:ext cx="6270484" cy="0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" name="Пряма зі стрілкою 12">
            <a:extLst>
              <a:ext uri="{FF2B5EF4-FFF2-40B4-BE49-F238E27FC236}">
                <a16:creationId xmlns:a16="http://schemas.microsoft.com/office/drawing/2014/main" id="{53BB15FC-FB52-8149-B05C-82E42B597E37}"/>
              </a:ext>
            </a:extLst>
          </p:cNvPr>
          <p:cNvCxnSpPr>
            <a:cxnSpLocks/>
          </p:cNvCxnSpPr>
          <p:nvPr/>
        </p:nvCxnSpPr>
        <p:spPr>
          <a:xfrm flipV="1">
            <a:off x="1292616" y="983552"/>
            <a:ext cx="0" cy="355826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5AB981CC-BD90-5243-BB40-D3AC118462A8}"/>
              </a:ext>
            </a:extLst>
          </p:cNvPr>
          <p:cNvSpPr txBox="1"/>
          <p:nvPr/>
        </p:nvSpPr>
        <p:spPr>
          <a:xfrm>
            <a:off x="3961656" y="4620747"/>
            <a:ext cx="20093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/>
              <a:t>Ймовірність</a:t>
            </a:r>
            <a:endParaRPr lang="en-US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E57E687-04F6-6C42-B805-BF11B5FE33A4}"/>
              </a:ext>
            </a:extLst>
          </p:cNvPr>
          <p:cNvSpPr/>
          <p:nvPr/>
        </p:nvSpPr>
        <p:spPr>
          <a:xfrm>
            <a:off x="4888727" y="1322448"/>
            <a:ext cx="3145097" cy="82334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dirty="0"/>
              <a:t>Регуляція рекламного бізнесу в </a:t>
            </a:r>
            <a:r>
              <a:rPr lang="uk-UA" dirty="0" err="1"/>
              <a:t>пошуковиках</a:t>
            </a:r>
            <a:endParaRPr lang="en-US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4B666BF-4FE5-8349-9DEC-8D45BAF36CDD}"/>
              </a:ext>
            </a:extLst>
          </p:cNvPr>
          <p:cNvSpPr/>
          <p:nvPr/>
        </p:nvSpPr>
        <p:spPr>
          <a:xfrm>
            <a:off x="1334136" y="1362967"/>
            <a:ext cx="3145097" cy="82334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dirty="0"/>
              <a:t>Поява нового конкурента з кращою пошуковою </a:t>
            </a:r>
            <a:r>
              <a:rPr lang="uk-UA" dirty="0" err="1"/>
              <a:t>видачею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7207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74757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9368C5D-CB16-5148-A72B-DE333131B107}"/>
              </a:ext>
            </a:extLst>
          </p:cNvPr>
          <p:cNvSpPr/>
          <p:nvPr/>
        </p:nvSpPr>
        <p:spPr>
          <a:xfrm>
            <a:off x="4798031" y="0"/>
            <a:ext cx="4345969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Хто такі 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oogle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" name="Picture 9">
            <a:extLst>
              <a:ext uri="{FF2B5EF4-FFF2-40B4-BE49-F238E27FC236}">
                <a16:creationId xmlns:a16="http://schemas.microsoft.com/office/drawing/2014/main" id="{8A78AF23-6FF1-D24D-B507-E6646D21A6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536" y="1902023"/>
            <a:ext cx="3627804" cy="1225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33AFFE2-D3D7-7F4B-AF4D-401452A8ACDF}"/>
              </a:ext>
            </a:extLst>
          </p:cNvPr>
          <p:cNvSpPr txBox="1"/>
          <p:nvPr/>
        </p:nvSpPr>
        <p:spPr>
          <a:xfrm>
            <a:off x="311700" y="1240971"/>
            <a:ext cx="4034270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dirty="0"/>
              <a:t>Американська технологічна компанія, заснована в 1998 році Ларі </a:t>
            </a:r>
            <a:r>
              <a:rPr lang="uk-UA" dirty="0" err="1"/>
              <a:t>Пейджем</a:t>
            </a:r>
            <a:r>
              <a:rPr lang="uk-UA" dirty="0"/>
              <a:t> і Сергієм </a:t>
            </a:r>
            <a:r>
              <a:rPr lang="uk-UA" dirty="0" err="1"/>
              <a:t>Бріном</a:t>
            </a:r>
            <a:r>
              <a:rPr lang="uk-UA" dirty="0"/>
              <a:t>, тоді студентами </a:t>
            </a:r>
            <a:r>
              <a:rPr lang="uk-UA" dirty="0" err="1"/>
              <a:t>Стенфорда</a:t>
            </a:r>
            <a:endParaRPr lang="uk-UA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dirty="0"/>
              <a:t>Входить до «Великої п’ятірки» технологічних гігантів (також там </a:t>
            </a:r>
            <a:r>
              <a:rPr lang="en-US" dirty="0"/>
              <a:t>Amazon, Microsoft, Facebook, Apple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dirty="0"/>
              <a:t>В 2015 році </a:t>
            </a:r>
            <a:r>
              <a:rPr lang="en-US" dirty="0"/>
              <a:t>Google </a:t>
            </a:r>
            <a:r>
              <a:rPr lang="uk-UA" dirty="0"/>
              <a:t>реорганізувала свою структуру і стала дочірньою</a:t>
            </a:r>
            <a:r>
              <a:rPr lang="en-US" dirty="0"/>
              <a:t> </a:t>
            </a:r>
            <a:r>
              <a:rPr lang="uk-UA" dirty="0"/>
              <a:t>частиною компанії </a:t>
            </a:r>
            <a:r>
              <a:rPr lang="en-US" dirty="0"/>
              <a:t>Alphabe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dirty="0"/>
              <a:t>Чинний </a:t>
            </a:r>
            <a:r>
              <a:rPr lang="en-US" dirty="0"/>
              <a:t>CEO – </a:t>
            </a:r>
            <a:r>
              <a:rPr lang="uk-UA" dirty="0" err="1"/>
              <a:t>Сундар</a:t>
            </a:r>
            <a:r>
              <a:rPr lang="uk-UA" dirty="0"/>
              <a:t> </a:t>
            </a:r>
            <a:r>
              <a:rPr lang="uk-UA" dirty="0" err="1"/>
              <a:t>Пічай</a:t>
            </a:r>
            <a:endParaRPr lang="uk-UA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uk-UA"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42114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 err="1">
                <a:solidFill>
                  <a:schemeClr val="bg1"/>
                </a:solidFill>
              </a:rPr>
              <a:t>Напрямок:Мобільна</a:t>
            </a:r>
            <a:r>
              <a:rPr lang="uk-UA" sz="2000" b="1" dirty="0">
                <a:solidFill>
                  <a:schemeClr val="bg1"/>
                </a:solidFill>
              </a:rPr>
              <a:t> операційна система</a:t>
            </a:r>
            <a:endParaRPr sz="2000" b="1" dirty="0">
              <a:solidFill>
                <a:schemeClr val="bg1"/>
              </a:solidFill>
            </a:endParaRPr>
          </a:p>
        </p:txBody>
      </p:sp>
      <p:pic>
        <p:nvPicPr>
          <p:cNvPr id="15373" name="Picture 13">
            <a:extLst>
              <a:ext uri="{FF2B5EF4-FFF2-40B4-BE49-F238E27FC236}">
                <a16:creationId xmlns:a16="http://schemas.microsoft.com/office/drawing/2014/main" id="{73CAD56D-BEF7-D845-AD15-99D1467C4F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230" y="1302187"/>
            <a:ext cx="2325539" cy="2766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0176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6111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6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тан на ринку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825672-0888-EC43-93E7-2017C0419ED2}"/>
              </a:ext>
            </a:extLst>
          </p:cNvPr>
          <p:cNvSpPr txBox="1"/>
          <p:nvPr/>
        </p:nvSpPr>
        <p:spPr>
          <a:xfrm>
            <a:off x="311699" y="1011984"/>
            <a:ext cx="51398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uk-UA" dirty="0"/>
              <a:t>Світова доля ринку мобільних операційних систем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091821F-29DB-0B4A-8E32-3A60B09817F5}"/>
              </a:ext>
            </a:extLst>
          </p:cNvPr>
          <p:cNvCxnSpPr>
            <a:cxnSpLocks/>
          </p:cNvCxnSpPr>
          <p:nvPr/>
        </p:nvCxnSpPr>
        <p:spPr>
          <a:xfrm>
            <a:off x="311700" y="1319761"/>
            <a:ext cx="839916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904DB4EA-E8EA-644F-A07F-EBE421787F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56276" y="1700112"/>
            <a:ext cx="5710010" cy="2998363"/>
          </a:xfrm>
          <a:prstGeom prst="rect">
            <a:avLst/>
          </a:prstGeom>
          <a:effectLst>
            <a:outerShdw blurRad="203200" dist="38100" dir="13500000" algn="b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218284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78539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Головні конкуренти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1145945A-8B0D-6346-BEC7-DA74C7D935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8730" y="1338763"/>
            <a:ext cx="2325539" cy="2766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116" name="Picture 12">
            <a:extLst>
              <a:ext uri="{FF2B5EF4-FFF2-40B4-BE49-F238E27FC236}">
                <a16:creationId xmlns:a16="http://schemas.microsoft.com/office/drawing/2014/main" id="{2EC0132A-9922-1F45-9025-FADEE82E5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9733" y="1338763"/>
            <a:ext cx="2766060" cy="2766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72519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22396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одатки: головні конкуренти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7107" name="Picture 3" descr="Download Google Play (Android Market) Logo in SVG Vector or PNG File Format  - Logo.wine">
            <a:extLst>
              <a:ext uri="{FF2B5EF4-FFF2-40B4-BE49-F238E27FC236}">
                <a16:creationId xmlns:a16="http://schemas.microsoft.com/office/drawing/2014/main" id="{0FC4BE3E-AE9B-1D45-A13A-AD3F14C765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700" y="960120"/>
            <a:ext cx="4834890" cy="3223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109" name="Picture 5">
            <a:extLst>
              <a:ext uri="{FF2B5EF4-FFF2-40B4-BE49-F238E27FC236}">
                <a16:creationId xmlns:a16="http://schemas.microsoft.com/office/drawing/2014/main" id="{3B815730-15AD-4D4F-A57F-6127062382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050" y="1691640"/>
            <a:ext cx="1760220" cy="1760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44762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тан на ринку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825672-0888-EC43-93E7-2017C0419ED2}"/>
              </a:ext>
            </a:extLst>
          </p:cNvPr>
          <p:cNvSpPr txBox="1"/>
          <p:nvPr/>
        </p:nvSpPr>
        <p:spPr>
          <a:xfrm>
            <a:off x="311699" y="1011984"/>
            <a:ext cx="51398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uk-UA" dirty="0"/>
              <a:t>Ріст доходів </a:t>
            </a:r>
            <a:r>
              <a:rPr lang="en-US" dirty="0"/>
              <a:t>Google Play Marke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091821F-29DB-0B4A-8E32-3A60B09817F5}"/>
              </a:ext>
            </a:extLst>
          </p:cNvPr>
          <p:cNvCxnSpPr>
            <a:cxnSpLocks/>
          </p:cNvCxnSpPr>
          <p:nvPr/>
        </p:nvCxnSpPr>
        <p:spPr>
          <a:xfrm>
            <a:off x="311700" y="1319761"/>
            <a:ext cx="839916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A77BC809-3276-3743-819F-C87637BDC8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13171" y="1546069"/>
            <a:ext cx="5317657" cy="3349243"/>
          </a:xfrm>
          <a:prstGeom prst="rect">
            <a:avLst/>
          </a:prstGeom>
          <a:effectLst>
            <a:outerShdw blurRad="203200" dist="38100" dir="13500000" algn="b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8507986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изики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4" name="Групувати 7">
            <a:extLst>
              <a:ext uri="{FF2B5EF4-FFF2-40B4-BE49-F238E27FC236}">
                <a16:creationId xmlns:a16="http://schemas.microsoft.com/office/drawing/2014/main" id="{8EFE684D-9487-934A-B369-D056B5D7EF1D}"/>
              </a:ext>
            </a:extLst>
          </p:cNvPr>
          <p:cNvGrpSpPr/>
          <p:nvPr/>
        </p:nvGrpSpPr>
        <p:grpSpPr>
          <a:xfrm>
            <a:off x="1373900" y="983552"/>
            <a:ext cx="6270484" cy="3485053"/>
            <a:chOff x="1737360" y="1690688"/>
            <a:chExt cx="8229600" cy="4573904"/>
          </a:xfrm>
          <a:solidFill>
            <a:schemeClr val="bg2"/>
          </a:solidFill>
        </p:grpSpPr>
        <p:sp>
          <p:nvSpPr>
            <p:cNvPr id="5" name="Прямокутник 3">
              <a:extLst>
                <a:ext uri="{FF2B5EF4-FFF2-40B4-BE49-F238E27FC236}">
                  <a16:creationId xmlns:a16="http://schemas.microsoft.com/office/drawing/2014/main" id="{6C29B297-4B35-C54B-90F3-3EF5E2509A4B}"/>
                </a:ext>
              </a:extLst>
            </p:cNvPr>
            <p:cNvSpPr/>
            <p:nvPr/>
          </p:nvSpPr>
          <p:spPr>
            <a:xfrm>
              <a:off x="1737360" y="1690688"/>
              <a:ext cx="4023360" cy="21945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Прямокутник 4">
              <a:extLst>
                <a:ext uri="{FF2B5EF4-FFF2-40B4-BE49-F238E27FC236}">
                  <a16:creationId xmlns:a16="http://schemas.microsoft.com/office/drawing/2014/main" id="{84B90E07-B03A-9B4D-A1D9-F2BF458FFE18}"/>
                </a:ext>
              </a:extLst>
            </p:cNvPr>
            <p:cNvSpPr/>
            <p:nvPr/>
          </p:nvSpPr>
          <p:spPr>
            <a:xfrm>
              <a:off x="5943600" y="1690688"/>
              <a:ext cx="4023360" cy="219456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Прямокутник 5">
              <a:extLst>
                <a:ext uri="{FF2B5EF4-FFF2-40B4-BE49-F238E27FC236}">
                  <a16:creationId xmlns:a16="http://schemas.microsoft.com/office/drawing/2014/main" id="{DCACA9E5-A903-4745-ACDD-AB62C4399248}"/>
                </a:ext>
              </a:extLst>
            </p:cNvPr>
            <p:cNvSpPr/>
            <p:nvPr/>
          </p:nvSpPr>
          <p:spPr>
            <a:xfrm>
              <a:off x="1737360" y="4070032"/>
              <a:ext cx="4023360" cy="219456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Прямокутник 6">
              <a:extLst>
                <a:ext uri="{FF2B5EF4-FFF2-40B4-BE49-F238E27FC236}">
                  <a16:creationId xmlns:a16="http://schemas.microsoft.com/office/drawing/2014/main" id="{9D79B6E0-947C-3242-94C6-781609C95854}"/>
                </a:ext>
              </a:extLst>
            </p:cNvPr>
            <p:cNvSpPr/>
            <p:nvPr/>
          </p:nvSpPr>
          <p:spPr>
            <a:xfrm>
              <a:off x="5943600" y="4070032"/>
              <a:ext cx="4023360" cy="219456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FD1F8E2F-7ACE-6C4D-AF9A-4E436490109D}"/>
              </a:ext>
            </a:extLst>
          </p:cNvPr>
          <p:cNvSpPr txBox="1"/>
          <p:nvPr/>
        </p:nvSpPr>
        <p:spPr>
          <a:xfrm rot="16200000">
            <a:off x="-17387" y="2339461"/>
            <a:ext cx="21733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/>
              <a:t>Масштаб впливу</a:t>
            </a:r>
            <a:endParaRPr lang="en-US" dirty="0"/>
          </a:p>
        </p:txBody>
      </p:sp>
      <p:cxnSp>
        <p:nvCxnSpPr>
          <p:cNvPr id="11" name="Пряма зі стрілкою 11">
            <a:extLst>
              <a:ext uri="{FF2B5EF4-FFF2-40B4-BE49-F238E27FC236}">
                <a16:creationId xmlns:a16="http://schemas.microsoft.com/office/drawing/2014/main" id="{973ACEC4-E83B-3240-BE1E-1C1AF249A149}"/>
              </a:ext>
            </a:extLst>
          </p:cNvPr>
          <p:cNvCxnSpPr>
            <a:cxnSpLocks/>
          </p:cNvCxnSpPr>
          <p:nvPr/>
        </p:nvCxnSpPr>
        <p:spPr>
          <a:xfrm>
            <a:off x="1373900" y="4541814"/>
            <a:ext cx="6270484" cy="0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2" name="Пряма зі стрілкою 12">
            <a:extLst>
              <a:ext uri="{FF2B5EF4-FFF2-40B4-BE49-F238E27FC236}">
                <a16:creationId xmlns:a16="http://schemas.microsoft.com/office/drawing/2014/main" id="{53BB15FC-FB52-8149-B05C-82E42B597E37}"/>
              </a:ext>
            </a:extLst>
          </p:cNvPr>
          <p:cNvCxnSpPr>
            <a:cxnSpLocks/>
          </p:cNvCxnSpPr>
          <p:nvPr/>
        </p:nvCxnSpPr>
        <p:spPr>
          <a:xfrm flipV="1">
            <a:off x="1292616" y="983552"/>
            <a:ext cx="0" cy="3558262"/>
          </a:xfrm>
          <a:prstGeom prst="straightConnector1">
            <a:avLst/>
          </a:prstGeom>
          <a:ln>
            <a:tailEnd type="triangle"/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5AB981CC-BD90-5243-BB40-D3AC118462A8}"/>
              </a:ext>
            </a:extLst>
          </p:cNvPr>
          <p:cNvSpPr txBox="1"/>
          <p:nvPr/>
        </p:nvSpPr>
        <p:spPr>
          <a:xfrm>
            <a:off x="3961656" y="4620747"/>
            <a:ext cx="20093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/>
              <a:t>Ймовірність</a:t>
            </a:r>
            <a:endParaRPr lang="en-US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DE57E687-04F6-6C42-B805-BF11B5FE33A4}"/>
              </a:ext>
            </a:extLst>
          </p:cNvPr>
          <p:cNvSpPr/>
          <p:nvPr/>
        </p:nvSpPr>
        <p:spPr>
          <a:xfrm>
            <a:off x="4888727" y="1322448"/>
            <a:ext cx="3339896" cy="81114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dirty="0"/>
              <a:t>Регуляція </a:t>
            </a:r>
            <a:r>
              <a:rPr lang="uk-UA" dirty="0" err="1"/>
              <a:t>превстановлених</a:t>
            </a:r>
            <a:r>
              <a:rPr lang="uk-UA" dirty="0"/>
              <a:t> додатків на мобільних </a:t>
            </a:r>
            <a:r>
              <a:rPr lang="en-US" dirty="0"/>
              <a:t>OS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14DD178-BF67-824B-8BAF-C15DC85C6DE6}"/>
              </a:ext>
            </a:extLst>
          </p:cNvPr>
          <p:cNvSpPr/>
          <p:nvPr/>
        </p:nvSpPr>
        <p:spPr>
          <a:xfrm>
            <a:off x="1292616" y="1406696"/>
            <a:ext cx="3339896" cy="81114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dirty="0"/>
              <a:t>Перехід у </a:t>
            </a:r>
            <a:r>
              <a:rPr lang="uk-UA" dirty="0" err="1"/>
              <a:t>метаверс</a:t>
            </a:r>
            <a:r>
              <a:rPr lang="uk-UA" dirty="0"/>
              <a:t>, де в </a:t>
            </a:r>
            <a:r>
              <a:rPr lang="en-US" dirty="0"/>
              <a:t>Google </a:t>
            </a:r>
            <a:r>
              <a:rPr lang="uk-UA" dirty="0"/>
              <a:t>слабші позиції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2898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05284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е ми зараз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DAAEEA8-9936-5D46-B6ED-0B323062BB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07904" y="1078788"/>
            <a:ext cx="5547562" cy="4597637"/>
          </a:xfrm>
          <a:prstGeom prst="rect">
            <a:avLst/>
          </a:prstGeom>
          <a:effectLst>
            <a:outerShdw blurRad="203200" dist="38100" dir="13500000" algn="br" rotWithShape="0">
              <a:prstClr val="black">
                <a:alpha val="40000"/>
              </a:prst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DD6D738-98FB-C644-846A-B9D0887B8A4B}"/>
              </a:ext>
            </a:extLst>
          </p:cNvPr>
          <p:cNvSpPr txBox="1"/>
          <p:nvPr/>
        </p:nvSpPr>
        <p:spPr>
          <a:xfrm>
            <a:off x="311700" y="1078788"/>
            <a:ext cx="2940547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dirty="0"/>
              <a:t>Нинішня капіталізація: 2,97</a:t>
            </a:r>
            <a:r>
              <a:rPr lang="en-US" dirty="0"/>
              <a:t> </a:t>
            </a:r>
            <a:r>
              <a:rPr lang="uk-UA" dirty="0"/>
              <a:t>трильйони</a:t>
            </a:r>
            <a:r>
              <a:rPr lang="en-US" dirty="0"/>
              <a:t> (</a:t>
            </a:r>
            <a:r>
              <a:rPr lang="uk-UA" dirty="0"/>
              <a:t>третя компанія у світі, яка перетнула позначку в 2 трильйони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dirty="0"/>
              <a:t>180% росту з березня 2020 (середній </a:t>
            </a:r>
            <a:r>
              <a:rPr lang="en-US" dirty="0"/>
              <a:t>S&amp;P 500 – 110%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dirty="0"/>
              <a:t>Третій квартал 2021 року був на 20% кращий, ніж очікували аналітики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987252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66571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 головних ролях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9939" name="Picture 3" descr="Larry Page - Sergey Brin, Education &amp;amp; Age - Biography">
            <a:extLst>
              <a:ext uri="{FF2B5EF4-FFF2-40B4-BE49-F238E27FC236}">
                <a16:creationId xmlns:a16="http://schemas.microsoft.com/office/drawing/2014/main" id="{DA507B2B-9A7D-6745-9859-B01FA1A69F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795" y="1429880"/>
            <a:ext cx="2590725" cy="2590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941" name="Picture 5" descr="Sergey Brin">
            <a:extLst>
              <a:ext uri="{FF2B5EF4-FFF2-40B4-BE49-F238E27FC236}">
                <a16:creationId xmlns:a16="http://schemas.microsoft.com/office/drawing/2014/main" id="{65B14722-F169-9A46-A7C9-2C77C44DAA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637" y="1427282"/>
            <a:ext cx="2590725" cy="2590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943" name="Picture 7" descr="Sundar Pichai (@sundarpichai) | Twitter">
            <a:extLst>
              <a:ext uri="{FF2B5EF4-FFF2-40B4-BE49-F238E27FC236}">
                <a16:creationId xmlns:a16="http://schemas.microsoft.com/office/drawing/2014/main" id="{45FADCC5-8646-B749-820C-1F6E46D78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9480" y="1424684"/>
            <a:ext cx="2590725" cy="2590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07681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536236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уть діяльності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104" name="Picture 8">
            <a:extLst>
              <a:ext uri="{FF2B5EF4-FFF2-40B4-BE49-F238E27FC236}">
                <a16:creationId xmlns:a16="http://schemas.microsoft.com/office/drawing/2014/main" id="{DA54AAF6-1D72-C14D-A4A6-D40DDA345F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3831" y="1193080"/>
            <a:ext cx="5816338" cy="3271690"/>
          </a:xfrm>
          <a:prstGeom prst="rect">
            <a:avLst/>
          </a:prstGeom>
          <a:effectLst>
            <a:outerShdw blurRad="203200" dist="38100" dir="13500000" algn="b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297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5145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оротка історія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130" name="Picture 10" descr="Google History Timeline - Office Timeline blog">
            <a:extLst>
              <a:ext uri="{FF2B5EF4-FFF2-40B4-BE49-F238E27FC236}">
                <a16:creationId xmlns:a16="http://schemas.microsoft.com/office/drawing/2014/main" id="{43FE3883-7836-7644-BA54-E40F69A26D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37" b="23918"/>
          <a:stretch/>
        </p:blipFill>
        <p:spPr bwMode="auto">
          <a:xfrm>
            <a:off x="-103695" y="1346329"/>
            <a:ext cx="9332536" cy="2958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2866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20340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труктура компанії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152" name="Picture 8" descr="Newsmaker] Google turns a page with Alphabet">
            <a:extLst>
              <a:ext uri="{FF2B5EF4-FFF2-40B4-BE49-F238E27FC236}">
                <a16:creationId xmlns:a16="http://schemas.microsoft.com/office/drawing/2014/main" id="{ED283A52-DBDD-D043-8F1A-769D4C7424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3861" y="842454"/>
            <a:ext cx="4998439" cy="4029595"/>
          </a:xfrm>
          <a:prstGeom prst="rect">
            <a:avLst/>
          </a:prstGeom>
          <a:effectLst>
            <a:outerShdw blurRad="203200" dist="38100" dir="13500000" algn="b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6AB2CE6-3714-D942-9C6C-596EA62E310B}"/>
              </a:ext>
            </a:extLst>
          </p:cNvPr>
          <p:cNvSpPr txBox="1"/>
          <p:nvPr/>
        </p:nvSpPr>
        <p:spPr>
          <a:xfrm>
            <a:off x="311700" y="1240971"/>
            <a:ext cx="323015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dirty="0"/>
              <a:t>Американська технологічна компанія, заснована в 1998 році Ларі </a:t>
            </a:r>
            <a:r>
              <a:rPr lang="uk-UA" dirty="0" err="1"/>
              <a:t>Пейджем</a:t>
            </a:r>
            <a:r>
              <a:rPr lang="uk-UA" dirty="0"/>
              <a:t> і Сергієм </a:t>
            </a:r>
            <a:r>
              <a:rPr lang="uk-UA" dirty="0" err="1"/>
              <a:t>Бріном</a:t>
            </a:r>
            <a:r>
              <a:rPr lang="uk-UA" dirty="0"/>
              <a:t>, тоді студентами </a:t>
            </a:r>
            <a:r>
              <a:rPr lang="uk-UA" dirty="0" err="1"/>
              <a:t>Стенфорда</a:t>
            </a:r>
            <a:endParaRPr lang="uk-UA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dirty="0"/>
              <a:t>Входить до «Великої п’ятірки» технологічних гігантів (також там </a:t>
            </a:r>
            <a:r>
              <a:rPr lang="en-US" dirty="0"/>
              <a:t>Amazon, Microsoft, Facebook, Apple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dirty="0"/>
              <a:t>В 2015 році </a:t>
            </a:r>
            <a:r>
              <a:rPr lang="en-US" dirty="0"/>
              <a:t>Google </a:t>
            </a:r>
            <a:r>
              <a:rPr lang="uk-UA" dirty="0"/>
              <a:t>реорганізувала свою структуру і стала дочірньою</a:t>
            </a:r>
            <a:r>
              <a:rPr lang="en-US" dirty="0"/>
              <a:t> </a:t>
            </a:r>
            <a:r>
              <a:rPr lang="uk-UA" dirty="0"/>
              <a:t>частиною компанії </a:t>
            </a:r>
            <a:r>
              <a:rPr lang="en-US" dirty="0"/>
              <a:t>Alphabe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dirty="0"/>
              <a:t>Чинний </a:t>
            </a:r>
            <a:r>
              <a:rPr lang="en-US" dirty="0"/>
              <a:t>CEO – </a:t>
            </a:r>
            <a:r>
              <a:rPr lang="uk-UA" dirty="0" err="1"/>
              <a:t>Сундар</a:t>
            </a:r>
            <a:r>
              <a:rPr lang="uk-UA" dirty="0"/>
              <a:t> </a:t>
            </a:r>
            <a:r>
              <a:rPr lang="uk-UA" dirty="0" err="1"/>
              <a:t>Пічай</a:t>
            </a:r>
            <a:endParaRPr lang="uk-UA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6869824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13342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Фінанси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: </a:t>
            </a:r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охід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825672-0888-EC43-93E7-2017C0419ED2}"/>
              </a:ext>
            </a:extLst>
          </p:cNvPr>
          <p:cNvSpPr txBox="1"/>
          <p:nvPr/>
        </p:nvSpPr>
        <p:spPr>
          <a:xfrm>
            <a:off x="311699" y="1011984"/>
            <a:ext cx="51398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uk-UA" dirty="0"/>
              <a:t>Річний дохід компанії </a:t>
            </a:r>
            <a:r>
              <a:rPr lang="en-US" dirty="0"/>
              <a:t>Google </a:t>
            </a:r>
            <a:r>
              <a:rPr lang="uk-UA" dirty="0"/>
              <a:t>з 2002 по 2020 рік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091821F-29DB-0B4A-8E32-3A60B09817F5}"/>
              </a:ext>
            </a:extLst>
          </p:cNvPr>
          <p:cNvCxnSpPr>
            <a:cxnSpLocks/>
          </p:cNvCxnSpPr>
          <p:nvPr/>
        </p:nvCxnSpPr>
        <p:spPr>
          <a:xfrm>
            <a:off x="311700" y="1319761"/>
            <a:ext cx="839916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B3CA2AE8-EAED-A54B-9DA8-983B6C2FD14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35267" y="1486610"/>
            <a:ext cx="5673465" cy="3212375"/>
          </a:xfrm>
          <a:prstGeom prst="rect">
            <a:avLst/>
          </a:prstGeom>
          <a:effectLst>
            <a:outerShdw blurRad="203200" dist="38100" dir="13500000" algn="b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947322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24859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9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Фінанси: ринкова капіталізація (1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/2)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D825672-0888-EC43-93E7-2017C0419ED2}"/>
              </a:ext>
            </a:extLst>
          </p:cNvPr>
          <p:cNvSpPr txBox="1"/>
          <p:nvPr/>
        </p:nvSpPr>
        <p:spPr>
          <a:xfrm>
            <a:off x="311699" y="1011984"/>
            <a:ext cx="51398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uk-UA" dirty="0"/>
              <a:t>Капіталізація </a:t>
            </a:r>
            <a:r>
              <a:rPr lang="en-US" dirty="0"/>
              <a:t>Google (</a:t>
            </a:r>
            <a:r>
              <a:rPr lang="uk-UA" dirty="0"/>
              <a:t>а потім </a:t>
            </a:r>
            <a:r>
              <a:rPr lang="en-US" dirty="0"/>
              <a:t>Alphabet) </a:t>
            </a:r>
            <a:r>
              <a:rPr lang="uk-UA" dirty="0"/>
              <a:t>з 2015 року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091821F-29DB-0B4A-8E32-3A60B09817F5}"/>
              </a:ext>
            </a:extLst>
          </p:cNvPr>
          <p:cNvCxnSpPr>
            <a:cxnSpLocks/>
          </p:cNvCxnSpPr>
          <p:nvPr/>
        </p:nvCxnSpPr>
        <p:spPr>
          <a:xfrm>
            <a:off x="311700" y="1319761"/>
            <a:ext cx="8399163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E42B5C41-1D7A-FA46-B15D-B3DFB3DC24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1698" y="1486610"/>
            <a:ext cx="8399163" cy="3398126"/>
          </a:xfrm>
          <a:prstGeom prst="rect">
            <a:avLst/>
          </a:prstGeom>
          <a:effectLst>
            <a:outerShdw blurRad="203200" dist="38100" dir="13500000" algn="b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376554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8EAF0"/>
        </a:solidFill>
        <a:effectLst/>
      </p:bgPr>
    </p:bg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69CDEB-6A5B-6148-A58A-0FCB4E94B5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8335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769CDEB-6A5B-6148-A58A-0FCB4E94B5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1" name="Google Shape;121;p27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lvl="0"/>
            <a:r>
              <a:rPr lang="uk-UA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Фінанси: ринкова капіталізація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(2/2)</a:t>
            </a:r>
            <a:endParaRPr sz="2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534B83-D082-4245-ACD1-A208731712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4400" y="1022780"/>
            <a:ext cx="7071360" cy="3821915"/>
          </a:xfrm>
          <a:prstGeom prst="rect">
            <a:avLst/>
          </a:prstGeom>
          <a:effectLst>
            <a:outerShdw blurRad="203200" dist="38100" dir="13500000" algn="b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575988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C8765E17D8F6F47BD939A469EEF77F2" ma:contentTypeVersion="11" ma:contentTypeDescription="Create a new document." ma:contentTypeScope="" ma:versionID="0064759c96d6dcbe5dd9fb0e2c759b81">
  <xsd:schema xmlns:xsd="http://www.w3.org/2001/XMLSchema" xmlns:xs="http://www.w3.org/2001/XMLSchema" xmlns:p="http://schemas.microsoft.com/office/2006/metadata/properties" xmlns:ns2="16e1d87d-2a8c-480d-8bf4-a8051d5e4132" xmlns:ns3="22d75ae7-9901-46c3-9ad2-b9cd825bc4a6" targetNamespace="http://schemas.microsoft.com/office/2006/metadata/properties" ma:root="true" ma:fieldsID="6442d33d95e451b8cd98fd26d74519c9" ns2:_="" ns3:_="">
    <xsd:import namespace="16e1d87d-2a8c-480d-8bf4-a8051d5e4132"/>
    <xsd:import namespace="22d75ae7-9901-46c3-9ad2-b9cd825bc4a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e1d87d-2a8c-480d-8bf4-a8051d5e41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d75ae7-9901-46c3-9ad2-b9cd825bc4a6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DF70B77-0AFF-4D67-97B0-84535B09F390}"/>
</file>

<file path=customXml/itemProps2.xml><?xml version="1.0" encoding="utf-8"?>
<ds:datastoreItem xmlns:ds="http://schemas.openxmlformats.org/officeDocument/2006/customXml" ds:itemID="{E3CC2DB2-B186-4CB7-85C0-1224CF6558A4}"/>
</file>

<file path=customXml/itemProps3.xml><?xml version="1.0" encoding="utf-8"?>
<ds:datastoreItem xmlns:ds="http://schemas.openxmlformats.org/officeDocument/2006/customXml" ds:itemID="{AA171B6D-0928-489F-8F94-75C58ADEFD1E}"/>
</file>

<file path=docProps/app.xml><?xml version="1.0" encoding="utf-8"?>
<Properties xmlns="http://schemas.openxmlformats.org/officeDocument/2006/extended-properties" xmlns:vt="http://schemas.openxmlformats.org/officeDocument/2006/docPropsVTypes">
  <TotalTime>1263</TotalTime>
  <Words>330</Words>
  <Application>Microsoft Macintosh PowerPoint</Application>
  <PresentationFormat>On-screen Show (16:9)</PresentationFormat>
  <Paragraphs>56</Paragraphs>
  <Slides>26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9" baseType="lpstr">
      <vt:lpstr>Arial</vt:lpstr>
      <vt:lpstr>Simple Light</vt:lpstr>
      <vt:lpstr>think-cell Slide</vt:lpstr>
      <vt:lpstr>PowerPoint Presentation</vt:lpstr>
      <vt:lpstr>Хто такі Google</vt:lpstr>
      <vt:lpstr>В головних ролях</vt:lpstr>
      <vt:lpstr>Суть діяльності</vt:lpstr>
      <vt:lpstr>Коротка історія</vt:lpstr>
      <vt:lpstr>Структура компанії</vt:lpstr>
      <vt:lpstr>Фінанси: дохід</vt:lpstr>
      <vt:lpstr>Фінанси: ринкова капіталізація (1/2)</vt:lpstr>
      <vt:lpstr>Фінанси: ринкова капіталізація (2/2)</vt:lpstr>
      <vt:lpstr>Фінанси</vt:lpstr>
      <vt:lpstr>Фінанси: що генерує бізнес</vt:lpstr>
      <vt:lpstr>Google vs Big Five</vt:lpstr>
      <vt:lpstr>M&amp;A угоди</vt:lpstr>
      <vt:lpstr>Напрямок: Пошуковий бізнес</vt:lpstr>
      <vt:lpstr>Бізнес-модель головного напрямку Google</vt:lpstr>
      <vt:lpstr>Стан на ринку</vt:lpstr>
      <vt:lpstr>Конкуренти</vt:lpstr>
      <vt:lpstr>Конкуренти</vt:lpstr>
      <vt:lpstr>Ризики</vt:lpstr>
      <vt:lpstr>Напрямок:Мобільна операційна система</vt:lpstr>
      <vt:lpstr>Стан на ринку</vt:lpstr>
      <vt:lpstr>Головні конкуренти</vt:lpstr>
      <vt:lpstr>Додатки: головні конкуренти</vt:lpstr>
      <vt:lpstr>Стан на ринку</vt:lpstr>
      <vt:lpstr>Ризики</vt:lpstr>
      <vt:lpstr>Де ми зараз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ia</dc:creator>
  <cp:lastModifiedBy>Процюк Захар Степанович</cp:lastModifiedBy>
  <cp:revision>36</cp:revision>
  <dcterms:modified xsi:type="dcterms:W3CDTF">2021-11-10T09:01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8765E17D8F6F47BD939A469EEF77F2</vt:lpwstr>
  </property>
</Properties>
</file>